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2"/>
  </p:notesMasterIdLst>
  <p:handoutMasterIdLst>
    <p:handoutMasterId r:id="rId33"/>
  </p:handoutMasterIdLst>
  <p:sldIdLst>
    <p:sldId id="2142533922" r:id="rId7"/>
    <p:sldId id="2142533937" r:id="rId8"/>
    <p:sldId id="2142533923" r:id="rId9"/>
    <p:sldId id="2142533944" r:id="rId10"/>
    <p:sldId id="2142533731" r:id="rId11"/>
    <p:sldId id="2142533800" r:id="rId12"/>
    <p:sldId id="2142533920" r:id="rId13"/>
    <p:sldId id="2142533888" r:id="rId14"/>
    <p:sldId id="2142533880" r:id="rId15"/>
    <p:sldId id="2142533934" r:id="rId16"/>
    <p:sldId id="2142533938" r:id="rId17"/>
    <p:sldId id="2142533831" r:id="rId18"/>
    <p:sldId id="2142533818" r:id="rId19"/>
    <p:sldId id="2142533941" r:id="rId20"/>
    <p:sldId id="2142533806" r:id="rId21"/>
    <p:sldId id="2142533942" r:id="rId22"/>
    <p:sldId id="2142533810" r:id="rId23"/>
    <p:sldId id="2142533943" r:id="rId24"/>
    <p:sldId id="2142533796" r:id="rId25"/>
    <p:sldId id="2142533924" r:id="rId26"/>
    <p:sldId id="2142533932" r:id="rId27"/>
    <p:sldId id="2142533741" r:id="rId28"/>
    <p:sldId id="2142533744" r:id="rId29"/>
    <p:sldId id="2142533723" r:id="rId30"/>
    <p:sldId id="2142533725" r:id="rId31"/>
  </p:sldIdLst>
  <p:sldSz cx="9144000" cy="5143500" type="screen16x9"/>
  <p:notesSz cx="6797675" cy="9872663"/>
  <p:custDataLst>
    <p:tags r:id="rId34"/>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7EE7F59-F784-4C90-BD86-8BA3B07B608F}">
          <p14:sldIdLst>
            <p14:sldId id="2142533922"/>
          </p14:sldIdLst>
        </p14:section>
        <p14:section name="Intro AS" id="{0E054BFA-C668-4B0C-8947-E57C94FAC8FE}">
          <p14:sldIdLst>
            <p14:sldId id="2142533937"/>
            <p14:sldId id="2142533923"/>
            <p14:sldId id="2142533944"/>
          </p14:sldIdLst>
        </p14:section>
        <p14:section name="Vorstellung IGES" id="{F4C19853-249B-4D8E-8E98-61429AA68C43}">
          <p14:sldIdLst>
            <p14:sldId id="2142533731"/>
            <p14:sldId id="2142533800"/>
            <p14:sldId id="2142533920"/>
            <p14:sldId id="2142533888"/>
            <p14:sldId id="2142533880"/>
            <p14:sldId id="2142533934"/>
            <p14:sldId id="2142533938"/>
            <p14:sldId id="2142533831"/>
            <p14:sldId id="2142533818"/>
            <p14:sldId id="2142533941"/>
            <p14:sldId id="2142533806"/>
            <p14:sldId id="2142533942"/>
            <p14:sldId id="2142533810"/>
            <p14:sldId id="2142533943"/>
            <p14:sldId id="2142533796"/>
            <p14:sldId id="2142533924"/>
            <p14:sldId id="2142533932"/>
            <p14:sldId id="2142533741"/>
            <p14:sldId id="2142533744"/>
            <p14:sldId id="2142533723"/>
            <p14:sldId id="2142533725"/>
          </p14:sldIdLst>
        </p14:section>
        <p14:section name="nicht verwendet" id="{199B9CC3-226E-41BA-B8C8-4FD6615ED6D8}">
          <p14:sldIdLst/>
        </p14:section>
      </p14:sectionLst>
    </p:ex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3C1"/>
    <a:srgbClr val="8DA3B0"/>
    <a:srgbClr val="C7E2D5"/>
    <a:srgbClr val="CC9FAD"/>
    <a:srgbClr val="FBCDA3"/>
    <a:srgbClr val="D3DCE4"/>
    <a:srgbClr val="C1AAD0"/>
    <a:srgbClr val="CE9EAC"/>
    <a:srgbClr val="BFDDE1"/>
    <a:srgbClr val="C6E2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839" autoAdjust="0"/>
    <p:restoredTop sz="94660"/>
  </p:normalViewPr>
  <p:slideViewPr>
    <p:cSldViewPr snapToGrid="0">
      <p:cViewPr varScale="1">
        <p:scale>
          <a:sx n="133" d="100"/>
          <a:sy n="133" d="100"/>
        </p:scale>
        <p:origin x="546" y="126"/>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file:///\\ads.iges.de\USE\Pool\U6500\U6531\ap\AP200_L&#228;nder%20Schwerpunkt%202025\Erwerbst&#228;tige%20L&#228;nder_12211-1001_d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ads.iges.de\USE\Pool\U6200\U6241\ap\AP600%20Workshops-PM\Bundes_Pressekonferenz\Teil%20D.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ads.iges.de\USE\Pool\U6200\U6241\ap\AP600%20Workshops-PM\Bundes_Pressekonferenz\Teil%20A.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file:///\\ads.iges.de\USE\Pool\U6500\U6531\ap\AP200_L&#228;nder%20Schwerpunkt%202025\AU-L&#228;nder.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ads.iges.de\USE\Pool\U6500\U6531\ap\AP200_L&#228;nder%20Schwerpunkt%202025\AU-L&#228;nder.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ads.iges.de\USE\Pool\U6500\U6531\ap\AP200_L&#228;nder%20Schwerpunkt%202025\AU-L&#228;nder.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ads.iges.de\USE\Pool\U6500\U6531\ap\AP200_L&#228;nder%20Schwerpunkt%202025\AU-L&#228;nder.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ads.iges.de\USE\Pool\U6500\U6531\ap\AP200_L&#228;nder%20Schwerpunkt%202025\L&#228;nder_Master_2025.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ads.iges.de\USE\Pool\U6200\U6241\ap\AP600%20Workshops-PM\Bundes_Pressekonferenz\Teil%20D.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0.10244953894037581"/>
          <c:w val="0.62780806861384886"/>
          <c:h val="0.80929830673820635"/>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D62-4700-9F3E-3BB29F4FB66C}"/>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0D62-4700-9F3E-3BB29F4FB66C}"/>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0D62-4700-9F3E-3BB29F4FB66C}"/>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0D62-4700-9F3E-3BB29F4FB66C}"/>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0D62-4700-9F3E-3BB29F4FB66C}"/>
              </c:ext>
            </c:extLst>
          </c:dPt>
          <c:dLbls>
            <c:dLbl>
              <c:idx val="1"/>
              <c:layout>
                <c:manualLayout>
                  <c:x val="1.2204424103737605E-2"/>
                  <c:y val="1.1799410029498525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0D62-4700-9F3E-3BB29F4FB66C}"/>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0D62-4700-9F3E-3BB29F4FB66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B!$B$3:$B$7</c:f>
              <c:strCache>
                <c:ptCount val="5"/>
                <c:pt idx="0">
                  <c:v>unter 30 Jahre</c:v>
                </c:pt>
                <c:pt idx="1">
                  <c:v>30 bis unter 40 Jahre</c:v>
                </c:pt>
                <c:pt idx="2">
                  <c:v>40 bis unter 50 Jahre</c:v>
                </c:pt>
                <c:pt idx="3">
                  <c:v>50 bis unter 60 Jahre</c:v>
                </c:pt>
                <c:pt idx="4">
                  <c:v>ab 60 Jahre</c:v>
                </c:pt>
              </c:strCache>
            </c:strRef>
          </c:cat>
          <c:val>
            <c:numRef>
              <c:f>HB!$D$3:$D$7</c:f>
              <c:numCache>
                <c:formatCode>#,##0</c:formatCode>
                <c:ptCount val="5"/>
                <c:pt idx="0">
                  <c:v>76000</c:v>
                </c:pt>
                <c:pt idx="1">
                  <c:v>78000</c:v>
                </c:pt>
                <c:pt idx="2">
                  <c:v>65000</c:v>
                </c:pt>
                <c:pt idx="3">
                  <c:v>71000</c:v>
                </c:pt>
                <c:pt idx="4">
                  <c:v>41000</c:v>
                </c:pt>
              </c:numCache>
            </c:numRef>
          </c:val>
          <c:extLst>
            <c:ext xmlns:c16="http://schemas.microsoft.com/office/drawing/2014/chart" uri="{C3380CC4-5D6E-409C-BE32-E72D297353CC}">
              <c16:uniqueId val="{0000000A-0D62-4700-9F3E-3BB29F4FB66C}"/>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t>Top 6 der sehr wichtigen Aspekte bei der Arbeit der Beschäftigten unter 30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3"/>
          <c:order val="0"/>
          <c:tx>
            <c:strRef>
              <c:f>'wichtige Aspekte'!$L$85</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L$100:$L$105</c:f>
              <c:numCache>
                <c:formatCode>###0%</c:formatCode>
                <c:ptCount val="6"/>
                <c:pt idx="0">
                  <c:v>0.44112867767613262</c:v>
                </c:pt>
                <c:pt idx="1">
                  <c:v>0.55942978963139445</c:v>
                </c:pt>
                <c:pt idx="2">
                  <c:v>0.51361242915147776</c:v>
                </c:pt>
                <c:pt idx="3">
                  <c:v>0.5526821500623329</c:v>
                </c:pt>
                <c:pt idx="4">
                  <c:v>0.5184074390527027</c:v>
                </c:pt>
                <c:pt idx="5">
                  <c:v>0.63906631000119252</c:v>
                </c:pt>
              </c:numCache>
              <c:extLst/>
            </c:numRef>
          </c:val>
          <c:extLst>
            <c:ext xmlns:c16="http://schemas.microsoft.com/office/drawing/2014/chart" uri="{C3380CC4-5D6E-409C-BE32-E72D297353CC}">
              <c16:uniqueId val="{00000000-6559-4FFB-AFF7-52FAF55C9EB6}"/>
            </c:ext>
          </c:extLst>
        </c:ser>
        <c:ser>
          <c:idx val="0"/>
          <c:order val="1"/>
          <c:tx>
            <c:strRef>
              <c:f>'wichtige Aspekte'!$I$85</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I$100:$I$105</c:f>
              <c:numCache>
                <c:formatCode>###0%</c:formatCode>
                <c:ptCount val="6"/>
                <c:pt idx="0">
                  <c:v>0.4776194685083488</c:v>
                </c:pt>
                <c:pt idx="1">
                  <c:v>0.56211667758215966</c:v>
                </c:pt>
                <c:pt idx="2">
                  <c:v>0.58062226608462442</c:v>
                </c:pt>
                <c:pt idx="3">
                  <c:v>0.60937784602272316</c:v>
                </c:pt>
                <c:pt idx="4">
                  <c:v>0.6237396075475149</c:v>
                </c:pt>
                <c:pt idx="5">
                  <c:v>0.65454982583634047</c:v>
                </c:pt>
              </c:numCache>
              <c:extLst/>
            </c:numRef>
          </c:val>
          <c:extLst>
            <c:ext xmlns:c16="http://schemas.microsoft.com/office/drawing/2014/chart" uri="{C3380CC4-5D6E-409C-BE32-E72D297353CC}">
              <c16:uniqueId val="{00000001-6559-4FFB-AFF7-52FAF55C9EB6}"/>
            </c:ext>
          </c:extLst>
        </c:ser>
        <c:dLbls>
          <c:showLegendKey val="0"/>
          <c:showVal val="0"/>
          <c:showCatName val="0"/>
          <c:showSerName val="0"/>
          <c:showPercent val="0"/>
          <c:showBubbleSize val="0"/>
        </c:dLbls>
        <c:gapWidth val="100"/>
        <c:axId val="960393600"/>
        <c:axId val="960394680"/>
      </c:barChart>
      <c:catAx>
        <c:axId val="960393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4680"/>
        <c:crosses val="autoZero"/>
        <c:auto val="1"/>
        <c:lblAlgn val="ctr"/>
        <c:lblOffset val="100"/>
        <c:noMultiLvlLbl val="0"/>
      </c:catAx>
      <c:valAx>
        <c:axId val="9603946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360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r>
              <a:rPr lang="de-DE" i="1"/>
              <a:t>Inwieweit treffen die Aussagen zu?</a:t>
            </a:r>
          </a:p>
        </c:rich>
      </c:tx>
      <c:overlay val="0"/>
      <c:spPr>
        <a:noFill/>
        <a:ln>
          <a:noFill/>
        </a:ln>
        <a:effectLst/>
      </c:spPr>
      <c:txPr>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COVID!$N$4</c:f>
              <c:strCache>
                <c:ptCount val="1"/>
                <c:pt idx="0">
                  <c:v>Seit der Corona-Pandemie bin ich generell vorsichtiger im Umgang mit Infekten.</c:v>
                </c:pt>
              </c:strCache>
            </c:strRef>
          </c:tx>
          <c:spPr>
            <a:solidFill>
              <a:schemeClr val="accent4"/>
            </a:solidFill>
            <a:ln>
              <a:noFill/>
            </a:ln>
            <a:effectLst/>
          </c:spPr>
          <c:invertIfNegative val="0"/>
          <c:dPt>
            <c:idx val="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2-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N$5:$N$9</c:f>
              <c:numCache>
                <c:formatCode>###0%</c:formatCode>
                <c:ptCount val="5"/>
                <c:pt idx="0">
                  <c:v>0.53841992162664376</c:v>
                </c:pt>
                <c:pt idx="1">
                  <c:v>0.48063380318251203</c:v>
                </c:pt>
                <c:pt idx="2">
                  <c:v>0.47980496742424988</c:v>
                </c:pt>
                <c:pt idx="4">
                  <c:v>0.48777395144112484</c:v>
                </c:pt>
              </c:numCache>
            </c:numRef>
          </c:val>
          <c:extLst>
            <c:ext xmlns:c16="http://schemas.microsoft.com/office/drawing/2014/chart" uri="{C3380CC4-5D6E-409C-BE32-E72D297353CC}">
              <c16:uniqueId val="{00000000-3C44-44C7-928C-ADBD4DD5F3FC}"/>
            </c:ext>
          </c:extLst>
        </c:ser>
        <c:ser>
          <c:idx val="1"/>
          <c:order val="1"/>
          <c:tx>
            <c:strRef>
              <c:f>COVID!$O$4</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O$5:$O$9</c:f>
              <c:numCache>
                <c:formatCode>###0%</c:formatCode>
                <c:ptCount val="5"/>
                <c:pt idx="0">
                  <c:v>0.24521289792137219</c:v>
                </c:pt>
                <c:pt idx="1">
                  <c:v>0.18400745991396281</c:v>
                </c:pt>
                <c:pt idx="2">
                  <c:v>0.14426073041192333</c:v>
                </c:pt>
                <c:pt idx="4">
                  <c:v>0.177157861018442</c:v>
                </c:pt>
              </c:numCache>
            </c:numRef>
          </c:val>
          <c:extLst>
            <c:ext xmlns:c16="http://schemas.microsoft.com/office/drawing/2014/chart" uri="{C3380CC4-5D6E-409C-BE32-E72D297353CC}">
              <c16:uniqueId val="{00000001-3C44-44C7-928C-ADBD4DD5F3FC}"/>
            </c:ext>
          </c:extLst>
        </c:ser>
        <c:dLbls>
          <c:showLegendKey val="0"/>
          <c:showVal val="0"/>
          <c:showCatName val="0"/>
          <c:showSerName val="0"/>
          <c:showPercent val="0"/>
          <c:showBubbleSize val="0"/>
        </c:dLbls>
        <c:gapWidth val="219"/>
        <c:overlap val="-27"/>
        <c:axId val="129400592"/>
        <c:axId val="129400952"/>
      </c:barChart>
      <c:catAx>
        <c:axId val="12940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952"/>
        <c:crosses val="autoZero"/>
        <c:auto val="1"/>
        <c:lblAlgn val="ctr"/>
        <c:lblOffset val="100"/>
        <c:noMultiLvlLbl val="0"/>
      </c:catAx>
      <c:valAx>
        <c:axId val="129400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ll und gaz zu" und "trifft eher zu"</a:t>
                </a:r>
              </a:p>
            </c:rich>
          </c:tx>
          <c:layout>
            <c:manualLayout>
              <c:xMode val="edge"/>
              <c:yMode val="edge"/>
              <c:x val="1.7167900262159693E-2"/>
              <c:y val="1.8289600336132441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592"/>
        <c:crosses val="autoZero"/>
        <c:crossBetween val="between"/>
        <c:majorUnit val="0.2"/>
      </c:valAx>
      <c:spPr>
        <a:noFill/>
        <a:ln>
          <a:noFill/>
        </a:ln>
        <a:effectLst/>
      </c:spPr>
    </c:plotArea>
    <c:legend>
      <c:legendPos val="b"/>
      <c:layout>
        <c:manualLayout>
          <c:xMode val="edge"/>
          <c:yMode val="edge"/>
          <c:x val="0.1025090368041931"/>
          <c:y val="0.78959590774355159"/>
          <c:w val="0.88654406112313211"/>
          <c:h val="0.1834086336578102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r>
              <a:rPr lang="de-DE" sz="1200" i="1"/>
              <a:t>"Sind Sie in den letzten 12 Monaten zur Arbeit gegangen, obwohl Sie sich aufgrund Ihres Gesundheitszustandes besser hätten krankmelden sollen?"</a:t>
            </a:r>
          </a:p>
        </c:rich>
      </c:tx>
      <c:overlay val="0"/>
      <c:spPr>
        <a:noFill/>
        <a:ln>
          <a:noFill/>
        </a:ln>
        <a:effectLst/>
      </c:spPr>
      <c:txPr>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5100760425285889"/>
          <c:y val="0.27950084280921572"/>
          <c:w val="0.8155062614516827"/>
          <c:h val="0.56183132761309962"/>
        </c:manualLayout>
      </c:layout>
      <c:barChart>
        <c:barDir val="col"/>
        <c:grouping val="clustered"/>
        <c:varyColors val="0"/>
        <c:ser>
          <c:idx val="1"/>
          <c:order val="0"/>
          <c:tx>
            <c:v>Präsentismus</c:v>
          </c:tx>
          <c:spPr>
            <a:solidFill>
              <a:schemeClr val="tx2"/>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808C-446B-8F5F-F8F2C41DE50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08C-446B-8F5F-F8F2C41DE507}"/>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808C-446B-8F5F-F8F2C41DE507}"/>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7-808C-446B-8F5F-F8F2C41DE507}"/>
              </c:ext>
            </c:extLst>
          </c:dPt>
          <c:dPt>
            <c:idx val="4"/>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9-808C-446B-8F5F-F8F2C41DE50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räsentismus!$M$2:$P$3</c:f>
              <c:multiLvlStrCache>
                <c:ptCount val="4"/>
                <c:lvl>
                  <c:pt idx="0">
                    <c:v>2015</c:v>
                  </c:pt>
                  <c:pt idx="1">
                    <c:v>2024</c:v>
                  </c:pt>
                  <c:pt idx="2">
                    <c:v>2015</c:v>
                  </c:pt>
                  <c:pt idx="3">
                    <c:v>2024</c:v>
                  </c:pt>
                </c:lvl>
                <c:lvl>
                  <c:pt idx="0">
                    <c:v>18-29</c:v>
                  </c:pt>
                  <c:pt idx="2">
                    <c:v>alle Beschäftigten</c:v>
                  </c:pt>
                </c:lvl>
              </c:multiLvlStrCache>
            </c:multiLvlStrRef>
          </c:cat>
          <c:val>
            <c:numRef>
              <c:f>Präsentismus!$M$4:$P$4</c:f>
              <c:numCache>
                <c:formatCode>###0%</c:formatCode>
                <c:ptCount val="4"/>
                <c:pt idx="0">
                  <c:v>0.73738976182063354</c:v>
                </c:pt>
                <c:pt idx="1">
                  <c:v>0.65009082500968685</c:v>
                </c:pt>
                <c:pt idx="2">
                  <c:v>0.67477145670664984</c:v>
                </c:pt>
                <c:pt idx="3">
                  <c:v>0.62492416675288021</c:v>
                </c:pt>
              </c:numCache>
            </c:numRef>
          </c:val>
          <c:extLst>
            <c:ext xmlns:c16="http://schemas.microsoft.com/office/drawing/2014/chart" uri="{C3380CC4-5D6E-409C-BE32-E72D297353CC}">
              <c16:uniqueId val="{0000000A-808C-446B-8F5F-F8F2C41DE507}"/>
            </c:ext>
          </c:extLst>
        </c:ser>
        <c:dLbls>
          <c:showLegendKey val="0"/>
          <c:showVal val="0"/>
          <c:showCatName val="0"/>
          <c:showSerName val="0"/>
          <c:showPercent val="0"/>
          <c:showBubbleSize val="0"/>
        </c:dLbls>
        <c:gapWidth val="219"/>
        <c:overlap val="-27"/>
        <c:axId val="639670528"/>
        <c:axId val="639670888"/>
      </c:barChart>
      <c:catAx>
        <c:axId val="63967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888"/>
        <c:crosses val="autoZero"/>
        <c:auto val="1"/>
        <c:lblAlgn val="ctr"/>
        <c:lblOffset val="100"/>
        <c:noMultiLvlLbl val="0"/>
      </c:catAx>
      <c:valAx>
        <c:axId val="63967088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Beschäftigter, die krank arbeiteten</a:t>
                </a:r>
              </a:p>
            </c:rich>
          </c:tx>
          <c:layout>
            <c:manualLayout>
              <c:xMode val="edge"/>
              <c:yMode val="edge"/>
              <c:x val="2.4467170165172695E-2"/>
              <c:y val="0.1734174253803591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528"/>
        <c:crosses val="autoZero"/>
        <c:crossBetween val="between"/>
        <c:majorUnit val="0.2"/>
      </c:valAx>
      <c:spPr>
        <a:noFill/>
        <a:ln>
          <a:noFill/>
        </a:ln>
        <a:effectLst/>
      </c:spPr>
    </c:plotArea>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HB!$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3A73-4F20-BD4F-18F7541B4B43}"/>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3A73-4F20-BD4F-18F7541B4B4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B!$E$6:$F$6</c:f>
              <c:strCache>
                <c:ptCount val="2"/>
                <c:pt idx="0">
                  <c:v>alle Beschäftigte</c:v>
                </c:pt>
                <c:pt idx="1">
                  <c:v>unter 30 Jahre</c:v>
                </c:pt>
              </c:strCache>
            </c:strRef>
          </c:cat>
          <c:val>
            <c:numRef>
              <c:f>HB!$E$7:$F$7</c:f>
              <c:numCache>
                <c:formatCode>0</c:formatCode>
                <c:ptCount val="2"/>
                <c:pt idx="0">
                  <c:v>220.34601718159266</c:v>
                </c:pt>
                <c:pt idx="1">
                  <c:v>319.80816528884719</c:v>
                </c:pt>
              </c:numCache>
            </c:numRef>
          </c:val>
          <c:extLst>
            <c:ext xmlns:c16="http://schemas.microsoft.com/office/drawing/2014/chart" uri="{C3380CC4-5D6E-409C-BE32-E72D297353CC}">
              <c16:uniqueId val="{00000004-3A73-4F20-BD4F-18F7541B4B43}"/>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HB!$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A84A-4726-AF72-DDD51ED1ABC4}"/>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A84A-4726-AF72-DDD51ED1ABC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B!$E$6:$F$6</c:f>
              <c:strCache>
                <c:ptCount val="2"/>
                <c:pt idx="0">
                  <c:v>alle Beschäftigte</c:v>
                </c:pt>
                <c:pt idx="1">
                  <c:v>unter 30 Jahre</c:v>
                </c:pt>
              </c:strCache>
            </c:strRef>
          </c:cat>
          <c:val>
            <c:numRef>
              <c:f>HB!$E$8:$F$8</c:f>
              <c:numCache>
                <c:formatCode>0.0</c:formatCode>
                <c:ptCount val="2"/>
                <c:pt idx="0">
                  <c:v>8.8110072305776921</c:v>
                </c:pt>
                <c:pt idx="1">
                  <c:v>5.2729150330877088</c:v>
                </c:pt>
              </c:numCache>
            </c:numRef>
          </c:val>
          <c:extLst>
            <c:ext xmlns:c16="http://schemas.microsoft.com/office/drawing/2014/chart" uri="{C3380CC4-5D6E-409C-BE32-E72D297353CC}">
              <c16:uniqueId val="{00000004-A84A-4726-AF72-DDD51ED1ABC4}"/>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HB!$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4227-4C46-968F-A8CE6A8CAB3C}"/>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4227-4C46-968F-A8CE6A8CAB3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B!$E$6:$F$6</c:f>
              <c:strCache>
                <c:ptCount val="2"/>
                <c:pt idx="0">
                  <c:v>alle Beschäftigte</c:v>
                </c:pt>
                <c:pt idx="1">
                  <c:v>unter 30 Jahre</c:v>
                </c:pt>
              </c:strCache>
            </c:strRef>
          </c:cat>
          <c:val>
            <c:numRef>
              <c:f>HB!$E$9:$F$9</c:f>
              <c:numCache>
                <c:formatCode>0.0%</c:formatCode>
                <c:ptCount val="2"/>
                <c:pt idx="0">
                  <c:v>5.3045637994972944E-2</c:v>
                </c:pt>
                <c:pt idx="1">
                  <c:v>4.6074351979665598E-2</c:v>
                </c:pt>
              </c:numCache>
            </c:numRef>
          </c:val>
          <c:extLst>
            <c:ext xmlns:c16="http://schemas.microsoft.com/office/drawing/2014/chart" uri="{C3380CC4-5D6E-409C-BE32-E72D297353CC}">
              <c16:uniqueId val="{00000004-4227-4C46-968F-A8CE6A8CAB3C}"/>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B!$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B!$J$33:$J$44</c:f>
              <c:strCache>
                <c:ptCount val="12"/>
                <c:pt idx="0">
                  <c:v>Atmungssystem</c:v>
                </c:pt>
                <c:pt idx="1">
                  <c:v>Muskel-Skelett-System</c:v>
                </c:pt>
                <c:pt idx="2">
                  <c:v>Psychische Erkrankungen</c:v>
                </c:pt>
                <c:pt idx="3">
                  <c:v>Infektionen</c:v>
                </c:pt>
                <c:pt idx="4">
                  <c:v>unspezifische Symptome</c:v>
                </c:pt>
                <c:pt idx="5">
                  <c:v>Verletzungen</c:v>
                </c:pt>
                <c:pt idx="6">
                  <c:v>Verdauungssystem</c:v>
                </c:pt>
                <c:pt idx="7">
                  <c:v>Nervensystem, Augen, Ohren</c:v>
                </c:pt>
                <c:pt idx="8">
                  <c:v>Äußere Ursachen und Faktoren</c:v>
                </c:pt>
                <c:pt idx="9">
                  <c:v>Haut</c:v>
                </c:pt>
                <c:pt idx="10">
                  <c:v>Kreislaufsystem</c:v>
                </c:pt>
                <c:pt idx="11">
                  <c:v>Neubildungen</c:v>
                </c:pt>
              </c:strCache>
            </c:strRef>
          </c:cat>
          <c:val>
            <c:numRef>
              <c:f>HB!$K$33:$K$44</c:f>
              <c:numCache>
                <c:formatCode>General</c:formatCode>
                <c:ptCount val="12"/>
                <c:pt idx="0">
                  <c:v>444</c:v>
                </c:pt>
                <c:pt idx="1">
                  <c:v>235</c:v>
                </c:pt>
                <c:pt idx="2">
                  <c:v>233</c:v>
                </c:pt>
                <c:pt idx="3">
                  <c:v>173</c:v>
                </c:pt>
                <c:pt idx="4">
                  <c:v>172</c:v>
                </c:pt>
                <c:pt idx="5">
                  <c:v>147</c:v>
                </c:pt>
                <c:pt idx="6">
                  <c:v>82</c:v>
                </c:pt>
                <c:pt idx="7">
                  <c:v>57</c:v>
                </c:pt>
                <c:pt idx="8">
                  <c:v>52</c:v>
                </c:pt>
                <c:pt idx="9">
                  <c:v>18</c:v>
                </c:pt>
                <c:pt idx="10">
                  <c:v>9</c:v>
                </c:pt>
                <c:pt idx="11">
                  <c:v>5</c:v>
                </c:pt>
              </c:numCache>
            </c:numRef>
          </c:val>
          <c:extLst>
            <c:ext xmlns:c16="http://schemas.microsoft.com/office/drawing/2014/chart" uri="{C3380CC4-5D6E-409C-BE32-E72D297353CC}">
              <c16:uniqueId val="{00000000-CB19-45F1-B3D5-8DA2FA82D749}"/>
            </c:ext>
          </c:extLst>
        </c:ser>
        <c:ser>
          <c:idx val="1"/>
          <c:order val="1"/>
          <c:tx>
            <c:strRef>
              <c:f>HB!$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B!$J$33:$J$44</c:f>
              <c:strCache>
                <c:ptCount val="12"/>
                <c:pt idx="0">
                  <c:v>Atmungssystem</c:v>
                </c:pt>
                <c:pt idx="1">
                  <c:v>Muskel-Skelett-System</c:v>
                </c:pt>
                <c:pt idx="2">
                  <c:v>Psychische Erkrankungen</c:v>
                </c:pt>
                <c:pt idx="3">
                  <c:v>Infektionen</c:v>
                </c:pt>
                <c:pt idx="4">
                  <c:v>unspezifische Symptome</c:v>
                </c:pt>
                <c:pt idx="5">
                  <c:v>Verletzungen</c:v>
                </c:pt>
                <c:pt idx="6">
                  <c:v>Verdauungssystem</c:v>
                </c:pt>
                <c:pt idx="7">
                  <c:v>Nervensystem, Augen, Ohren</c:v>
                </c:pt>
                <c:pt idx="8">
                  <c:v>Äußere Ursachen und Faktoren</c:v>
                </c:pt>
                <c:pt idx="9">
                  <c:v>Haut</c:v>
                </c:pt>
                <c:pt idx="10">
                  <c:v>Kreislaufsystem</c:v>
                </c:pt>
                <c:pt idx="11">
                  <c:v>Neubildungen</c:v>
                </c:pt>
              </c:strCache>
            </c:strRef>
          </c:cat>
          <c:val>
            <c:numRef>
              <c:f>HB!$L$33:$L$44</c:f>
              <c:numCache>
                <c:formatCode>General</c:formatCode>
                <c:ptCount val="12"/>
                <c:pt idx="0">
                  <c:v>354</c:v>
                </c:pt>
                <c:pt idx="1">
                  <c:v>326</c:v>
                </c:pt>
                <c:pt idx="2">
                  <c:v>338</c:v>
                </c:pt>
                <c:pt idx="3">
                  <c:v>132</c:v>
                </c:pt>
                <c:pt idx="4">
                  <c:v>136</c:v>
                </c:pt>
                <c:pt idx="5">
                  <c:v>184</c:v>
                </c:pt>
                <c:pt idx="6">
                  <c:v>87</c:v>
                </c:pt>
                <c:pt idx="7">
                  <c:v>80</c:v>
                </c:pt>
                <c:pt idx="8">
                  <c:v>106</c:v>
                </c:pt>
                <c:pt idx="9">
                  <c:v>34</c:v>
                </c:pt>
                <c:pt idx="10">
                  <c:v>59</c:v>
                </c:pt>
                <c:pt idx="11">
                  <c:v>46</c:v>
                </c:pt>
              </c:numCache>
            </c:numRef>
          </c:val>
          <c:extLst>
            <c:ext xmlns:c16="http://schemas.microsoft.com/office/drawing/2014/chart" uri="{C3380CC4-5D6E-409C-BE32-E72D297353CC}">
              <c16:uniqueId val="{00000001-CB19-45F1-B3D5-8DA2FA82D749}"/>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19144943753488439"/>
          <c:h val="0.11668161387025452"/>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HB!$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HB!$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08CD-494B-8FE5-6F2D46D6CD19}"/>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08CD-494B-8FE5-6F2D46D6CD19}"/>
              </c:ext>
            </c:extLst>
          </c:dPt>
          <c:dLbls>
            <c:dLbl>
              <c:idx val="1"/>
              <c:delete val="1"/>
              <c:extLst>
                <c:ext xmlns:c15="http://schemas.microsoft.com/office/drawing/2012/chart" uri="{CE6537A1-D6FC-4f65-9D91-7224C49458BB}"/>
                <c:ext xmlns:c16="http://schemas.microsoft.com/office/drawing/2014/chart" uri="{C3380CC4-5D6E-409C-BE32-E72D297353CC}">
                  <c16:uniqueId val="{00000003-08CD-494B-8FE5-6F2D46D6CD19}"/>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B!$A$37:$A$38</c:f>
              <c:strCache>
                <c:ptCount val="1"/>
                <c:pt idx="0">
                  <c:v>Erlebte Generationenkonflikte</c:v>
                </c:pt>
              </c:strCache>
            </c:strRef>
          </c:cat>
          <c:val>
            <c:numRef>
              <c:f>HB!$C$37:$C$38</c:f>
              <c:numCache>
                <c:formatCode>0%</c:formatCode>
                <c:ptCount val="2"/>
                <c:pt idx="0">
                  <c:v>0.18</c:v>
                </c:pt>
                <c:pt idx="1">
                  <c:v>0.82000000000000006</c:v>
                </c:pt>
              </c:numCache>
            </c:numRef>
          </c:val>
          <c:extLst>
            <c:ext xmlns:c16="http://schemas.microsoft.com/office/drawing/2014/chart" uri="{C3380CC4-5D6E-409C-BE32-E72D297353CC}">
              <c16:uniqueId val="{00000004-08CD-494B-8FE5-6F2D46D6CD19}"/>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r>
              <a:rPr lang="de-DE" sz="1400" b="0" i="0" u="none" strike="noStrike" kern="1200" spc="0" baseline="0" dirty="0">
                <a:solidFill>
                  <a:sysClr val="windowText" lastClr="000000"/>
                </a:solidFill>
              </a:rPr>
              <a:t>Belastung durch Generationenkonflikte bei der täglichen Arbeit</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stacked"/>
        <c:varyColors val="0"/>
        <c:ser>
          <c:idx val="3"/>
          <c:order val="0"/>
          <c:tx>
            <c:strRef>
              <c:f>'Häufigkeite G-Konflikte'!$E$67</c:f>
              <c:strCache>
                <c:ptCount val="1"/>
                <c:pt idx="0">
                  <c:v>gar nicht</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7:$I$67</c:f>
              <c:numCache>
                <c:formatCode>###0%</c:formatCode>
                <c:ptCount val="4"/>
                <c:pt idx="0">
                  <c:v>0.19117922634296319</c:v>
                </c:pt>
                <c:pt idx="1">
                  <c:v>0.18646860637767562</c:v>
                </c:pt>
                <c:pt idx="2">
                  <c:v>0.24402408243573034</c:v>
                </c:pt>
                <c:pt idx="3">
                  <c:v>0.20663981297532052</c:v>
                </c:pt>
              </c:numCache>
            </c:numRef>
          </c:val>
          <c:extLst>
            <c:ext xmlns:c16="http://schemas.microsoft.com/office/drawing/2014/chart" uri="{C3380CC4-5D6E-409C-BE32-E72D297353CC}">
              <c16:uniqueId val="{00000000-D805-4381-B06B-655154D5F44E}"/>
            </c:ext>
          </c:extLst>
        </c:ser>
        <c:ser>
          <c:idx val="2"/>
          <c:order val="1"/>
          <c:tx>
            <c:strRef>
              <c:f>'Häufigkeite G-Konflikte'!$E$66</c:f>
              <c:strCache>
                <c:ptCount val="1"/>
                <c:pt idx="0">
                  <c:v>weniger stark</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6:$I$66</c:f>
              <c:numCache>
                <c:formatCode>###0%</c:formatCode>
                <c:ptCount val="4"/>
                <c:pt idx="0">
                  <c:v>0.55598206011708917</c:v>
                </c:pt>
                <c:pt idx="1">
                  <c:v>0.66268889196534109</c:v>
                </c:pt>
                <c:pt idx="2">
                  <c:v>0.56660037485844794</c:v>
                </c:pt>
                <c:pt idx="3">
                  <c:v>0.61399391095490907</c:v>
                </c:pt>
              </c:numCache>
            </c:numRef>
          </c:val>
          <c:extLst>
            <c:ext xmlns:c16="http://schemas.microsoft.com/office/drawing/2014/chart" uri="{C3380CC4-5D6E-409C-BE32-E72D297353CC}">
              <c16:uniqueId val="{00000001-D805-4381-B06B-655154D5F44E}"/>
            </c:ext>
          </c:extLst>
        </c:ser>
        <c:ser>
          <c:idx val="1"/>
          <c:order val="2"/>
          <c:tx>
            <c:strRef>
              <c:f>'Häufigkeite G-Konflikte'!$E$65</c:f>
              <c:strCache>
                <c:ptCount val="1"/>
                <c:pt idx="0">
                  <c:v>star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5:$I$65</c:f>
              <c:numCache>
                <c:formatCode>###0%</c:formatCode>
                <c:ptCount val="4"/>
                <c:pt idx="0">
                  <c:v>0.23385795174743815</c:v>
                </c:pt>
                <c:pt idx="1">
                  <c:v>0.11684608950940448</c:v>
                </c:pt>
                <c:pt idx="2">
                  <c:v>0.15498259200256762</c:v>
                </c:pt>
                <c:pt idx="3">
                  <c:v>0.14751747467711759</c:v>
                </c:pt>
              </c:numCache>
            </c:numRef>
          </c:val>
          <c:extLst>
            <c:ext xmlns:c16="http://schemas.microsoft.com/office/drawing/2014/chart" uri="{C3380CC4-5D6E-409C-BE32-E72D297353CC}">
              <c16:uniqueId val="{00000002-D805-4381-B06B-655154D5F44E}"/>
            </c:ext>
          </c:extLst>
        </c:ser>
        <c:ser>
          <c:idx val="0"/>
          <c:order val="3"/>
          <c:tx>
            <c:strRef>
              <c:f>'Häufigkeite G-Konflikte'!$E$64</c:f>
              <c:strCache>
                <c:ptCount val="1"/>
                <c:pt idx="0">
                  <c:v>sehr star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4:$I$64</c:f>
              <c:numCache>
                <c:formatCode>###0%</c:formatCode>
                <c:ptCount val="4"/>
                <c:pt idx="0">
                  <c:v>1.8980761792507676E-2</c:v>
                </c:pt>
                <c:pt idx="1">
                  <c:v>3.3996412147580354E-2</c:v>
                </c:pt>
                <c:pt idx="2">
                  <c:v>3.4392950703257562E-2</c:v>
                </c:pt>
                <c:pt idx="3">
                  <c:v>3.1848801392651699E-2</c:v>
                </c:pt>
              </c:numCache>
            </c:numRef>
          </c:val>
          <c:extLst>
            <c:ext xmlns:c16="http://schemas.microsoft.com/office/drawing/2014/chart" uri="{C3380CC4-5D6E-409C-BE32-E72D297353CC}">
              <c16:uniqueId val="{00000003-D805-4381-B06B-655154D5F44E}"/>
            </c:ext>
          </c:extLst>
        </c:ser>
        <c:dLbls>
          <c:dLblPos val="ctr"/>
          <c:showLegendKey val="0"/>
          <c:showVal val="1"/>
          <c:showCatName val="0"/>
          <c:showSerName val="0"/>
          <c:showPercent val="0"/>
          <c:showBubbleSize val="0"/>
        </c:dLbls>
        <c:gapWidth val="200"/>
        <c:overlap val="100"/>
        <c:axId val="237328480"/>
        <c:axId val="237321760"/>
      </c:barChart>
      <c:catAx>
        <c:axId val="23732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1760"/>
        <c:crosses val="autoZero"/>
        <c:auto val="1"/>
        <c:lblAlgn val="ctr"/>
        <c:lblOffset val="100"/>
        <c:noMultiLvlLbl val="0"/>
      </c:catAx>
      <c:valAx>
        <c:axId val="23732176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Anteil an den Befragten mit GenerationBnkonflikten  </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848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Bremen N= 102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remen: 15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Bremen: 15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Bremen N= 102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7591</cdr:x>
      <cdr:y>0.15456</cdr:y>
    </cdr:from>
    <cdr:to>
      <cdr:x>0.3042</cdr:x>
      <cdr:y>0.3166</cdr:y>
    </cdr:to>
    <cdr:sp macro="" textlink="">
      <cdr:nvSpPr>
        <cdr:cNvPr id="2" name="Geschweifte Klammer rechts 1">
          <a:extLst xmlns:a="http://schemas.openxmlformats.org/drawingml/2006/main">
            <a:ext uri="{FF2B5EF4-FFF2-40B4-BE49-F238E27FC236}">
              <a16:creationId xmlns:a16="http://schemas.microsoft.com/office/drawing/2014/main" id="{11E76B21-E61B-F37E-0306-AAD8BA0AB4EC}"/>
            </a:ext>
          </a:extLst>
        </cdr:cNvPr>
        <cdr:cNvSpPr/>
      </cdr:nvSpPr>
      <cdr:spPr>
        <a:xfrm xmlns:a="http://schemas.openxmlformats.org/drawingml/2006/main">
          <a:off x="1441610" y="473863"/>
          <a:ext cx="147798" cy="496800"/>
        </a:xfrm>
        <a:prstGeom xmlns:a="http://schemas.openxmlformats.org/drawingml/2006/main" prst="rightBrace">
          <a:avLst/>
        </a:prstGeom>
        <a:ln xmlns:a="http://schemas.openxmlformats.org/drawingml/2006/main" w="12700">
          <a:solidFill>
            <a:schemeClr val="tx1"/>
          </a:solidFill>
          <a:tailEnd type="non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de-DE" kern="120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12.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12.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12.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2.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2.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5" Type="http://schemas.openxmlformats.org/officeDocument/2006/relationships/chart" Target="../charts/chart6.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9.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1.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endParaRPr lang="de-DE" sz="1800" dirty="0">
              <a:highlight>
                <a:srgbClr val="FFFF00"/>
              </a:highlight>
            </a:endParaRPr>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6" name="Gruppieren 5">
            <a:extLst>
              <a:ext uri="{FF2B5EF4-FFF2-40B4-BE49-F238E27FC236}">
                <a16:creationId xmlns:a16="http://schemas.microsoft.com/office/drawing/2014/main" id="{FBF107FC-FEC1-982C-4EDC-C9B36B502912}"/>
              </a:ext>
            </a:extLst>
          </p:cNvPr>
          <p:cNvGrpSpPr/>
          <p:nvPr/>
        </p:nvGrpSpPr>
        <p:grpSpPr>
          <a:xfrm>
            <a:off x="4766085" y="3252401"/>
            <a:ext cx="1440160" cy="1152128"/>
            <a:chOff x="4766085" y="3252401"/>
            <a:chExt cx="1440160" cy="1152128"/>
          </a:xfrm>
        </p:grpSpPr>
        <p:sp>
          <p:nvSpPr>
            <p:cNvPr id="7" name="Ovale Legende 7">
              <a:extLst>
                <a:ext uri="{FF2B5EF4-FFF2-40B4-BE49-F238E27FC236}">
                  <a16:creationId xmlns:a16="http://schemas.microsoft.com/office/drawing/2014/main" id="{7EFD08AD-2DD5-943A-1F0B-D69CE6650FC7}"/>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8" name="Die prägnante  Botschaft  zu dem Inhalt">
              <a:extLst>
                <a:ext uri="{FF2B5EF4-FFF2-40B4-BE49-F238E27FC236}">
                  <a16:creationId xmlns:a16="http://schemas.microsoft.com/office/drawing/2014/main" id="{B3392105-B6E9-611B-BA23-E4E5E47DAF13}"/>
                </a:ext>
              </a:extLst>
            </p:cNvPr>
            <p:cNvSpPr txBox="1"/>
            <p:nvPr/>
          </p:nvSpPr>
          <p:spPr>
            <a:xfrm>
              <a:off x="4887868" y="3641333"/>
              <a:ext cx="1196594" cy="30777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Bremen</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18 %</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18 Prozent der Beschäftigten </a:t>
            </a:r>
            <a:r>
              <a:rPr lang="de-DE" dirty="0">
                <a:solidFill>
                  <a:srgbClr val="000000"/>
                </a:solidFill>
              </a:rPr>
              <a:t>in Bremen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Bremen, Gesamt N = 102.</a:t>
            </a:r>
          </a:p>
        </p:txBody>
      </p:sp>
      <p:sp>
        <p:nvSpPr>
          <p:cNvPr id="4" name="Textfeld 3">
            <a:extLst>
              <a:ext uri="{FF2B5EF4-FFF2-40B4-BE49-F238E27FC236}">
                <a16:creationId xmlns:a16="http://schemas.microsoft.com/office/drawing/2014/main" id="{30C9696D-84AF-1CD7-894F-BBADC17A6E84}"/>
              </a:ext>
            </a:extLst>
          </p:cNvPr>
          <p:cNvSpPr txBox="1"/>
          <p:nvPr/>
        </p:nvSpPr>
        <p:spPr>
          <a:xfrm>
            <a:off x="118046" y="0"/>
            <a:ext cx="153694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48900837-2936-E37A-2628-2C1BA38FA626}"/>
              </a:ext>
            </a:extLst>
          </p:cNvPr>
          <p:cNvSpPr txBox="1"/>
          <p:nvPr/>
        </p:nvSpPr>
        <p:spPr>
          <a:xfrm>
            <a:off x="307479" y="64680"/>
            <a:ext cx="128705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remen</a:t>
            </a:r>
          </a:p>
        </p:txBody>
      </p:sp>
      <p:pic>
        <p:nvPicPr>
          <p:cNvPr id="7" name="Grafik 6" descr="Ein Bild, das Krone, Wappen, Symbol, Emblem enthält.&#10;&#10;Automatisch generierte Beschreibung">
            <a:extLst>
              <a:ext uri="{FF2B5EF4-FFF2-40B4-BE49-F238E27FC236}">
                <a16:creationId xmlns:a16="http://schemas.microsoft.com/office/drawing/2014/main" id="{DBAC6B5D-D52A-E41E-B664-8AAA523EE8B8}"/>
              </a:ext>
            </a:extLst>
          </p:cNvPr>
          <p:cNvPicPr>
            <a:picLocks noChangeAspect="1"/>
          </p:cNvPicPr>
          <p:nvPr/>
        </p:nvPicPr>
        <p:blipFill>
          <a:blip r:embed="rId4"/>
          <a:stretch>
            <a:fillRect/>
          </a:stretch>
        </p:blipFill>
        <p:spPr>
          <a:xfrm>
            <a:off x="199750" y="39871"/>
            <a:ext cx="195072" cy="284417"/>
          </a:xfrm>
          <a:prstGeom prst="rect">
            <a:avLst/>
          </a:prstGeom>
        </p:spPr>
      </p:pic>
      <p:graphicFrame>
        <p:nvGraphicFramePr>
          <p:cNvPr id="8" name="Diagramm 7">
            <a:extLst>
              <a:ext uri="{FF2B5EF4-FFF2-40B4-BE49-F238E27FC236}">
                <a16:creationId xmlns:a16="http://schemas.microsoft.com/office/drawing/2014/main" id="{50973683-4168-44AF-8CB7-BD6D866A4863}"/>
              </a:ext>
            </a:extLst>
          </p:cNvPr>
          <p:cNvGraphicFramePr>
            <a:graphicFrameLocks/>
          </p:cNvGraphicFramePr>
          <p:nvPr>
            <p:extLst>
              <p:ext uri="{D42A27DB-BD31-4B8C-83A1-F6EECF244321}">
                <p14:modId xmlns:p14="http://schemas.microsoft.com/office/powerpoint/2010/main" val="3923094601"/>
              </p:ext>
            </p:extLst>
          </p:nvPr>
        </p:nvGraphicFramePr>
        <p:xfrm>
          <a:off x="1450657" y="1233141"/>
          <a:ext cx="5648325" cy="272891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5255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63895" y="4853099"/>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jung: n=1.573; gemischt: n=3.161; älter: n=1.551)</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cs typeface="+mn-cs"/>
            </a:endParaRP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514331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2945B-DC9B-0ADA-7211-1CFCCA3BA5B3}"/>
            </a:ext>
          </a:extLst>
        </p:cNvPr>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B6AD164A-43BE-46AD-BC6B-BC0122758E9C}"/>
              </a:ext>
            </a:extLst>
          </p:cNvPr>
          <p:cNvGraphicFramePr>
            <a:graphicFrameLocks/>
          </p:cNvGraphicFramePr>
          <p:nvPr/>
        </p:nvGraphicFramePr>
        <p:xfrm>
          <a:off x="607050" y="1455737"/>
          <a:ext cx="5224950" cy="30658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0E299163-562C-4E23-CE21-F3FE975D4543}"/>
              </a:ext>
            </a:extLst>
          </p:cNvPr>
          <p:cNvSpPr>
            <a:spLocks noGrp="1"/>
          </p:cNvSpPr>
          <p:nvPr>
            <p:ph type="title"/>
          </p:nvPr>
        </p:nvSpPr>
        <p:spPr/>
        <p:txBody>
          <a:bodyPr/>
          <a:lstStyle/>
          <a:p>
            <a:r>
              <a:rPr lang="de-DE" dirty="0"/>
              <a:t>Generationenkonflikte Belasten GEN Z stärker</a:t>
            </a:r>
          </a:p>
        </p:txBody>
      </p:sp>
      <p:sp>
        <p:nvSpPr>
          <p:cNvPr id="3" name="Foliennummernplatzhalter 2">
            <a:extLst>
              <a:ext uri="{FF2B5EF4-FFF2-40B4-BE49-F238E27FC236}">
                <a16:creationId xmlns:a16="http://schemas.microsoft.com/office/drawing/2014/main" id="{AA922D2E-C536-2C79-1107-3C84B1D08F7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feld 5">
            <a:extLst>
              <a:ext uri="{FF2B5EF4-FFF2-40B4-BE49-F238E27FC236}">
                <a16:creationId xmlns:a16="http://schemas.microsoft.com/office/drawing/2014/main" id="{ED8A3781-9489-F841-7737-ACD8B5F9387A}"/>
              </a:ext>
            </a:extLst>
          </p:cNvPr>
          <p:cNvSpPr txBox="1"/>
          <p:nvPr/>
        </p:nvSpPr>
        <p:spPr>
          <a:xfrm>
            <a:off x="1306410" y="4858426"/>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Beschäftigtenbefragung 2024 (n= 1.589); Anmerkung: Abweichung zu 100% sind rundungsbedingt.</a:t>
            </a:r>
          </a:p>
        </p:txBody>
      </p:sp>
      <p:pic>
        <p:nvPicPr>
          <p:cNvPr id="5" name="Bild 14" descr="IGES_RGB.png">
            <a:extLst>
              <a:ext uri="{FF2B5EF4-FFF2-40B4-BE49-F238E27FC236}">
                <a16:creationId xmlns:a16="http://schemas.microsoft.com/office/drawing/2014/main" id="{95F429A5-2A25-F45E-61C1-7021989EB4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7" name="Rechteck 16">
            <a:extLst>
              <a:ext uri="{FF2B5EF4-FFF2-40B4-BE49-F238E27FC236}">
                <a16:creationId xmlns:a16="http://schemas.microsoft.com/office/drawing/2014/main" id="{FB55D81D-F2A0-75B3-5CF2-C59F3E5C8D21}"/>
              </a:ext>
            </a:extLst>
          </p:cNvPr>
          <p:cNvSpPr/>
          <p:nvPr/>
        </p:nvSpPr>
        <p:spPr>
          <a:xfrm>
            <a:off x="1331999" y="1847766"/>
            <a:ext cx="1151926" cy="2148233"/>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Geschweifte Klammer rechts 7">
            <a:extLst>
              <a:ext uri="{FF2B5EF4-FFF2-40B4-BE49-F238E27FC236}">
                <a16:creationId xmlns:a16="http://schemas.microsoft.com/office/drawing/2014/main" id="{C3A92ECF-A239-720D-2FF8-A6BD979897DC}"/>
              </a:ext>
            </a:extLst>
          </p:cNvPr>
          <p:cNvSpPr/>
          <p:nvPr/>
        </p:nvSpPr>
        <p:spPr>
          <a:xfrm>
            <a:off x="313312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9" name="Geschweifte Klammer rechts 8">
            <a:extLst>
              <a:ext uri="{FF2B5EF4-FFF2-40B4-BE49-F238E27FC236}">
                <a16:creationId xmlns:a16="http://schemas.microsoft.com/office/drawing/2014/main" id="{C3A92ECF-A239-720D-2FF8-A6BD979897DC}"/>
              </a:ext>
            </a:extLst>
          </p:cNvPr>
          <p:cNvSpPr/>
          <p:nvPr/>
        </p:nvSpPr>
        <p:spPr>
          <a:xfrm>
            <a:off x="4241164" y="1912950"/>
            <a:ext cx="147798" cy="4198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3" name="Geschweifte Klammer rechts 12">
            <a:extLst>
              <a:ext uri="{FF2B5EF4-FFF2-40B4-BE49-F238E27FC236}">
                <a16:creationId xmlns:a16="http://schemas.microsoft.com/office/drawing/2014/main" id="{C3A92ECF-A239-720D-2FF8-A6BD979897DC}"/>
              </a:ext>
            </a:extLst>
          </p:cNvPr>
          <p:cNvSpPr/>
          <p:nvPr/>
        </p:nvSpPr>
        <p:spPr>
          <a:xfrm>
            <a:off x="534540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4" name="Textfeld 13">
            <a:extLst>
              <a:ext uri="{FF2B5EF4-FFF2-40B4-BE49-F238E27FC236}">
                <a16:creationId xmlns:a16="http://schemas.microsoft.com/office/drawing/2014/main" id="{5E1D83BB-99ED-4ACD-1023-6796982586AA}"/>
              </a:ext>
            </a:extLst>
          </p:cNvPr>
          <p:cNvSpPr txBox="1"/>
          <p:nvPr/>
        </p:nvSpPr>
        <p:spPr>
          <a:xfrm>
            <a:off x="2178364" y="204382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25%</a:t>
            </a:r>
          </a:p>
        </p:txBody>
      </p:sp>
      <p:sp>
        <p:nvSpPr>
          <p:cNvPr id="16" name="Textfeld 15">
            <a:extLst>
              <a:ext uri="{FF2B5EF4-FFF2-40B4-BE49-F238E27FC236}">
                <a16:creationId xmlns:a16="http://schemas.microsoft.com/office/drawing/2014/main" id="{67B83AA5-6E60-C406-67B3-8721589E7660}"/>
              </a:ext>
            </a:extLst>
          </p:cNvPr>
          <p:cNvSpPr txBox="1"/>
          <p:nvPr/>
        </p:nvSpPr>
        <p:spPr>
          <a:xfrm>
            <a:off x="3259522" y="1930800"/>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5%</a:t>
            </a:r>
          </a:p>
        </p:txBody>
      </p:sp>
      <p:sp>
        <p:nvSpPr>
          <p:cNvPr id="18" name="Textfeld 17">
            <a:extLst>
              <a:ext uri="{FF2B5EF4-FFF2-40B4-BE49-F238E27FC236}">
                <a16:creationId xmlns:a16="http://schemas.microsoft.com/office/drawing/2014/main" id="{A8C77FF6-568E-F7EE-8DBF-A9B57BC104EA}"/>
              </a:ext>
            </a:extLst>
          </p:cNvPr>
          <p:cNvSpPr txBox="1"/>
          <p:nvPr/>
        </p:nvSpPr>
        <p:spPr>
          <a:xfrm>
            <a:off x="4386812" y="198772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8%</a:t>
            </a:r>
          </a:p>
        </p:txBody>
      </p:sp>
      <p:sp>
        <p:nvSpPr>
          <p:cNvPr id="19" name="Textfeld 18">
            <a:extLst>
              <a:ext uri="{FF2B5EF4-FFF2-40B4-BE49-F238E27FC236}">
                <a16:creationId xmlns:a16="http://schemas.microsoft.com/office/drawing/2014/main" id="{1488063F-14EE-43E0-C21A-43504176B69D}"/>
              </a:ext>
            </a:extLst>
          </p:cNvPr>
          <p:cNvSpPr txBox="1"/>
          <p:nvPr/>
        </p:nvSpPr>
        <p:spPr>
          <a:xfrm>
            <a:off x="5449325" y="194527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8%</a:t>
            </a:r>
          </a:p>
        </p:txBody>
      </p:sp>
      <p:sp>
        <p:nvSpPr>
          <p:cNvPr id="20" name="Textplatzhalter 2">
            <a:extLst>
              <a:ext uri="{FF2B5EF4-FFF2-40B4-BE49-F238E27FC236}">
                <a16:creationId xmlns:a16="http://schemas.microsoft.com/office/drawing/2014/main" id="{ABE33E79-C7CB-2A10-BB07-3CCFDCC36403}"/>
              </a:ext>
            </a:extLst>
          </p:cNvPr>
          <p:cNvSpPr txBox="1">
            <a:spLocks/>
          </p:cNvSpPr>
          <p:nvPr/>
        </p:nvSpPr>
        <p:spPr>
          <a:xfrm>
            <a:off x="5860000" y="1488553"/>
            <a:ext cx="3154562" cy="2166394"/>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bei der täglichen Arbeit dar. </a:t>
            </a:r>
            <a:endParaRPr lang="de-DE" dirty="0">
              <a:solidFill>
                <a:srgbClr val="000000"/>
              </a:solidFill>
              <a:latin typeface="Arial Narrow"/>
            </a:endParaRP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dirty="0">
                <a:solidFill>
                  <a:srgbClr val="000000"/>
                </a:solidFill>
                <a:latin typeface="Arial Narrow"/>
              </a:rPr>
              <a:t>Insgesamt 18 Prozent der Beschäftigten, die diese in der Zusammenarbeit erleben, sind dadurch stark oder sehr stark belastet.</a:t>
            </a: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Beschäftigten unter 30 Jahren, </a:t>
            </a:r>
            <a:r>
              <a:rPr lang="de-DE" dirty="0">
                <a:solidFill>
                  <a:srgbClr val="000000"/>
                </a:solidFill>
              </a:rPr>
              <a:t>die solche Konflikte erleben, sind sogar zu 25 Prozent dadurch sehr stark oder stark belastet.</a:t>
            </a:r>
            <a:r>
              <a:rPr kumimoji="0" lang="de-DE" sz="1400" b="0" i="0" u="none" strike="noStrike" kern="1200" cap="none" spc="0" normalizeH="0" baseline="0" noProof="0" dirty="0">
                <a:ln>
                  <a:noFill/>
                </a:ln>
                <a:solidFill>
                  <a:schemeClr val="bg1">
                    <a:lumMod val="50000"/>
                  </a:schemeClr>
                </a:solidFill>
                <a:effectLst/>
                <a:uLnTx/>
                <a:uFillTx/>
                <a:latin typeface="Arial Narrow"/>
                <a:ea typeface="+mn-ea"/>
                <a:cs typeface="+mn-cs"/>
              </a:rPr>
              <a:t> </a:t>
            </a:r>
          </a:p>
        </p:txBody>
      </p:sp>
    </p:spTree>
    <p:extLst>
      <p:ext uri="{BB962C8B-B14F-4D97-AF65-F5344CB8AC3E}">
        <p14:creationId xmlns:p14="http://schemas.microsoft.com/office/powerpoint/2010/main" val="3726656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92500" lnSpcReduction="10000"/>
          </a:bodyPr>
          <a:lstStyle/>
          <a:p>
            <a:endParaRPr lang="de-DE" dirty="0"/>
          </a:p>
          <a:p>
            <a:r>
              <a:rPr lang="de-DE" dirty="0"/>
              <a:t>Arbeits- </a:t>
            </a:r>
            <a:r>
              <a:rPr lang="de-DE" dirty="0" err="1"/>
              <a:t>Präverenzen</a:t>
            </a:r>
            <a:endParaRPr lang="de-DE" dirty="0"/>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Junge versus gesamt /</a:t>
            </a:r>
            <a:br>
              <a:rPr lang="de-DE" dirty="0"/>
            </a:br>
            <a:r>
              <a:rPr lang="de-DE" dirty="0"/>
              <a:t>Gen Z versus Gen Y</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230719"/>
            <a:ext cx="3647715" cy="3660821"/>
          </a:xfrm>
        </p:spPr>
        <p:txBody>
          <a:bodyPr/>
          <a:lstStyle/>
          <a:p>
            <a:r>
              <a:rPr lang="de-DE" b="1" u="sng" dirty="0"/>
              <a:t>Sehr wichtige</a:t>
            </a:r>
            <a:r>
              <a:rPr lang="de-DE" b="1" dirty="0"/>
              <a:t> Aspekte bei der Arbeit allgemein:</a:t>
            </a:r>
          </a:p>
          <a:p>
            <a:endParaRPr lang="de-DE" dirty="0"/>
          </a:p>
          <a:p>
            <a:r>
              <a:rPr lang="de-DE" dirty="0"/>
              <a:t>Ein gutes Verhältnis zu den Kolleginnen und Kollegen ist allen Beschäftigten „sehr wichtig“. Die Bezahlung spielt für alle Beschäftigten ebenfalls eine große Rolle. Unter 30-Jährige bewerten sie jedoch zu einem größeren Anteil als „sehr wichtig“. Die Vereinbarkeit von Beruflichem und Privatem ist für über 60 Prozent der Beschäftigten unter 30 Jahren „sehr wichtig“.</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diese Zuschreibungen, dass jüngere Beschäftigte besonders anspruchsvoll sind. Tatsächlich sind die Prioritäten der Gen Z ähnlich wie bei allen anderen Beschäftigten. </a:t>
            </a:r>
          </a:p>
        </p:txBody>
      </p:sp>
      <p:sp>
        <p:nvSpPr>
          <p:cNvPr id="7" name="Textfeld 6">
            <a:extLst>
              <a:ext uri="{FF2B5EF4-FFF2-40B4-BE49-F238E27FC236}">
                <a16:creationId xmlns:a16="http://schemas.microsoft.com/office/drawing/2014/main" id="{E59131E5-70FD-200C-E412-A7985FAF1E85}"/>
              </a:ext>
            </a:extLst>
          </p:cNvPr>
          <p:cNvSpPr txBox="1"/>
          <p:nvPr/>
        </p:nvSpPr>
        <p:spPr>
          <a:xfrm>
            <a:off x="1467908" y="4868862"/>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n=6.955-7.013)</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a:t>Top-Wunsch: Ein Gutes Arbeitsklima</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2" name="Diagramm 1">
            <a:extLst>
              <a:ext uri="{FF2B5EF4-FFF2-40B4-BE49-F238E27FC236}">
                <a16:creationId xmlns:a16="http://schemas.microsoft.com/office/drawing/2014/main" id="{2EB8A575-98A2-4D53-AF08-0FF6794D8058}"/>
              </a:ext>
            </a:extLst>
          </p:cNvPr>
          <p:cNvGraphicFramePr>
            <a:graphicFrameLocks/>
          </p:cNvGraphicFramePr>
          <p:nvPr/>
        </p:nvGraphicFramePr>
        <p:xfrm>
          <a:off x="576265" y="1455739"/>
          <a:ext cx="4180033" cy="3116262"/>
        </p:xfrm>
        <a:graphic>
          <a:graphicData uri="http://schemas.openxmlformats.org/drawingml/2006/chart">
            <c:chart xmlns:c="http://schemas.openxmlformats.org/drawingml/2006/chart" xmlns:r="http://schemas.openxmlformats.org/officeDocument/2006/relationships" r:id="rId4"/>
          </a:graphicData>
        </a:graphic>
      </p:graphicFrame>
      <p:sp>
        <p:nvSpPr>
          <p:cNvPr id="6" name="Rechteck 5">
            <a:extLst>
              <a:ext uri="{FF2B5EF4-FFF2-40B4-BE49-F238E27FC236}">
                <a16:creationId xmlns:a16="http://schemas.microsoft.com/office/drawing/2014/main" id="{7B9E5451-9693-8DDB-21FF-34AE626571C3}"/>
              </a:ext>
            </a:extLst>
          </p:cNvPr>
          <p:cNvSpPr/>
          <p:nvPr/>
        </p:nvSpPr>
        <p:spPr>
          <a:xfrm>
            <a:off x="504610" y="2643808"/>
            <a:ext cx="4014381" cy="602975"/>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6220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spTree>
    <p:extLst>
      <p:ext uri="{BB962C8B-B14F-4D97-AF65-F5344CB8AC3E}">
        <p14:creationId xmlns:p14="http://schemas.microsoft.com/office/powerpoint/2010/main" val="320112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4 Prozent). </a:t>
            </a:r>
          </a:p>
          <a:p>
            <a:endParaRPr lang="de-DE" dirty="0"/>
          </a:p>
          <a:p>
            <a:r>
              <a:rPr lang="de-DE" dirty="0"/>
              <a:t>Sie geben daneben zu einem Viertel an, sich bei Erkältungssymptomen eher krankschreiben zu lassen. Bei den Beschäftigten ab 50 sind es mit 14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6</a:t>
            </a:fld>
            <a:endParaRPr lang="de-DE"/>
          </a:p>
        </p:txBody>
      </p:sp>
      <p:sp>
        <p:nvSpPr>
          <p:cNvPr id="6" name="Textfeld 5">
            <a:extLst>
              <a:ext uri="{FF2B5EF4-FFF2-40B4-BE49-F238E27FC236}">
                <a16:creationId xmlns:a16="http://schemas.microsoft.com/office/drawing/2014/main" id="{E287860F-9DE6-AFF5-329F-391B509ACCAC}"/>
              </a:ext>
            </a:extLst>
          </p:cNvPr>
          <p:cNvSpPr txBox="1"/>
          <p:nvPr/>
        </p:nvSpPr>
        <p:spPr>
          <a:xfrm>
            <a:off x="1299637" y="4868862"/>
            <a:ext cx="7370200"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24 (n=6.966 und 6.869) 			* signifikant (p&lt;0,05) </a:t>
            </a:r>
          </a:p>
        </p:txBody>
      </p:sp>
      <p:graphicFrame>
        <p:nvGraphicFramePr>
          <p:cNvPr id="10" name="Diagramm 9">
            <a:extLst>
              <a:ext uri="{FF2B5EF4-FFF2-40B4-BE49-F238E27FC236}">
                <a16:creationId xmlns:a16="http://schemas.microsoft.com/office/drawing/2014/main" id="{6CD6C4C2-DF2D-A0A1-EEEE-8A796AD8F9A5}"/>
              </a:ext>
            </a:extLst>
          </p:cNvPr>
          <p:cNvGraphicFramePr>
            <a:graphicFrameLocks/>
          </p:cNvGraphicFramePr>
          <p:nvPr/>
        </p:nvGraphicFramePr>
        <p:xfrm>
          <a:off x="3664475" y="1524220"/>
          <a:ext cx="4438516" cy="282269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4319521" y="1895971"/>
            <a:ext cx="713117" cy="1713503"/>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099471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3251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2BA89210-7360-4E39-9CB2-EC6C1AEF3676}"/>
              </a:ext>
            </a:extLst>
          </p:cNvPr>
          <p:cNvGraphicFramePr>
            <a:graphicFrameLocks/>
          </p:cNvGraphicFramePr>
          <p:nvPr/>
        </p:nvGraphicFramePr>
        <p:xfrm>
          <a:off x="4394791" y="1447217"/>
          <a:ext cx="4171876" cy="287668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18</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65 Prozent geben an, krank gearbeitet zu haben (gesamt: 62%). </a:t>
            </a:r>
            <a:br>
              <a:rPr lang="de-DE" dirty="0"/>
            </a:br>
            <a:br>
              <a:rPr lang="de-DE" dirty="0"/>
            </a:br>
            <a:r>
              <a:rPr lang="de-DE" dirty="0"/>
              <a:t>Gegenüber der Befragung 2015 ist der Wert bei den jungen Beschäftigten um neun Prozentpunkte zurückgegangen. Bei der Gesamtheit um fünf Prozentpunkte.</a:t>
            </a:r>
          </a:p>
          <a:p>
            <a:endParaRPr lang="de-DE" dirty="0"/>
          </a:p>
        </p:txBody>
      </p:sp>
      <p:sp>
        <p:nvSpPr>
          <p:cNvPr id="8" name="Textfeld 7">
            <a:extLst>
              <a:ext uri="{FF2B5EF4-FFF2-40B4-BE49-F238E27FC236}">
                <a16:creationId xmlns:a16="http://schemas.microsoft.com/office/drawing/2014/main" id="{E84A5FFF-A8D7-E0DD-218C-2ED4A89C3D78}"/>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a:solidFill>
                  <a:schemeClr val="bg1">
                    <a:lumMod val="50000"/>
                  </a:schemeClr>
                </a:solidFill>
              </a:rPr>
              <a:t>Beschäftigtenbefragung 2015 (n=5.159) und 2024 (n=6.871)</a:t>
            </a:r>
          </a:p>
        </p:txBody>
      </p:sp>
    </p:spTree>
    <p:extLst>
      <p:ext uri="{BB962C8B-B14F-4D97-AF65-F5344CB8AC3E}">
        <p14:creationId xmlns:p14="http://schemas.microsoft.com/office/powerpoint/2010/main" val="954803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graphicFrame>
        <p:nvGraphicFramePr>
          <p:cNvPr id="15" name="Diagramm 14">
            <a:extLst>
              <a:ext uri="{FF2B5EF4-FFF2-40B4-BE49-F238E27FC236}">
                <a16:creationId xmlns:a16="http://schemas.microsoft.com/office/drawing/2014/main" id="{586AE718-53A3-4DDD-BFBC-2BD31FBCAB10}"/>
              </a:ext>
            </a:extLst>
          </p:cNvPr>
          <p:cNvGraphicFramePr>
            <a:graphicFrameLocks/>
          </p:cNvGraphicFramePr>
          <p:nvPr>
            <p:extLst>
              <p:ext uri="{D42A27DB-BD31-4B8C-83A1-F6EECF244321}">
                <p14:modId xmlns:p14="http://schemas.microsoft.com/office/powerpoint/2010/main" val="1713596578"/>
              </p:ext>
            </p:extLst>
          </p:nvPr>
        </p:nvGraphicFramePr>
        <p:xfrm>
          <a:off x="359938" y="1268413"/>
          <a:ext cx="4162425" cy="322897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76 Tausend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331 Tausend Erwerbstätigen in Bremen sind 76 Tausend unter 30 Jahre alt. Das entspricht einem Anteil von 23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 Statistisches Bundesamt (Destatis), 2025 | Stand: 29.07.2025</a:t>
            </a:r>
          </a:p>
        </p:txBody>
      </p:sp>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 xmlns:c="http://schemas.openxmlformats.org/drawingml/2006/chart" xmlns:cdr="http://schemas.openxmlformats.org/drawingml/2006/chartDrawing" xmlns:ma14="http://schemas.microsoft.com/office/mac/drawingml/2011/main" xmlns:lc="http://schemas.openxmlformats.org/drawingml/2006/lockedCanva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331 Tsd. Beschäftigte</a:t>
            </a:r>
          </a:p>
        </p:txBody>
      </p:sp>
      <p:sp>
        <p:nvSpPr>
          <p:cNvPr id="7" name="Textfeld 6">
            <a:extLst>
              <a:ext uri="{FF2B5EF4-FFF2-40B4-BE49-F238E27FC236}">
                <a16:creationId xmlns:a16="http://schemas.microsoft.com/office/drawing/2014/main" id="{0914D33B-FAD2-DE5A-5173-3F7DADE41C4E}"/>
              </a:ext>
            </a:extLst>
          </p:cNvPr>
          <p:cNvSpPr txBox="1"/>
          <p:nvPr/>
        </p:nvSpPr>
        <p:spPr>
          <a:xfrm>
            <a:off x="118046" y="0"/>
            <a:ext cx="153694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3A44F402-E14D-CA87-3938-8044B5ED8ACE}"/>
              </a:ext>
            </a:extLst>
          </p:cNvPr>
          <p:cNvSpPr txBox="1"/>
          <p:nvPr/>
        </p:nvSpPr>
        <p:spPr>
          <a:xfrm>
            <a:off x="307479" y="64680"/>
            <a:ext cx="128705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remen</a:t>
            </a:r>
          </a:p>
        </p:txBody>
      </p:sp>
      <p:pic>
        <p:nvPicPr>
          <p:cNvPr id="14" name="Grafik 13" descr="Ein Bild, das Krone, Wappen, Symbol, Emblem enthält.&#10;&#10;Automatisch generierte Beschreibung">
            <a:extLst>
              <a:ext uri="{FF2B5EF4-FFF2-40B4-BE49-F238E27FC236}">
                <a16:creationId xmlns:a16="http://schemas.microsoft.com/office/drawing/2014/main" id="{889C1942-48F4-B2B4-3420-EBD2F395AB56}"/>
              </a:ext>
            </a:extLst>
          </p:cNvPr>
          <p:cNvPicPr>
            <a:picLocks noChangeAspect="1"/>
          </p:cNvPicPr>
          <p:nvPr/>
        </p:nvPicPr>
        <p:blipFill>
          <a:blip r:embed="rId3"/>
          <a:stretch>
            <a:fillRect/>
          </a:stretch>
        </p:blipFill>
        <p:spPr>
          <a:xfrm>
            <a:off x="199750" y="39871"/>
            <a:ext cx="195072" cy="284417"/>
          </a:xfrm>
          <a:prstGeom prst="rect">
            <a:avLst/>
          </a:prstGeom>
        </p:spPr>
      </p:pic>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576263" y="1371494"/>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ie Gen Z legt besonderen Wert auf </a:t>
            </a:r>
            <a:r>
              <a:rPr lang="de-DE" sz="1600" dirty="0">
                <a:solidFill>
                  <a:srgbClr val="000000"/>
                </a:solidFill>
              </a:rPr>
              <a:t>Vereinbarkeit von Beruf- und Privatleben,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rbeitsklima, Sicherheit des Arbeitsplatzes und  Bezahlung. </a:t>
            </a:r>
            <a:r>
              <a:rPr lang="de-DE" sz="1600" dirty="0">
                <a:solidFill>
                  <a:srgbClr val="000000"/>
                </a:solidFill>
                <a:latin typeface="Arial Narrow"/>
              </a:rPr>
              <a:t>Die meisten Präferenzen werden auch von der Mehrheit aller Beschäftigter geteilt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t>
            </a:r>
            <a:r>
              <a:rPr lang="de-DE" sz="1600" dirty="0">
                <a:solidFill>
                  <a:srgbClr val="000000"/>
                </a:solidFill>
                <a:latin typeface="Arial Narrow"/>
              </a:rPr>
              <a:t> Das Bild einer besonders anspruchsvollen Generation von Beschäftigten zeigt sich in unserer Befragung nicht.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as Problem: Falsche Zuschreibungen führen in der Arbeitswelt zu Spannungen: 18 Prozent der Beschäftigten in Bremen erleben Generationenkonflikte. </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4,6</a:t>
            </a:r>
            <a:r>
              <a:rPr lang="de-DE" sz="1600" dirty="0">
                <a:solidFill>
                  <a:srgbClr val="000000"/>
                </a:solidFill>
                <a:latin typeface="Arial Narrow"/>
              </a:rPr>
              <a:t>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Jahre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Bundesweit waren 65 Prozent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überdurchschnittlich stark geprägt. </a:t>
            </a:r>
          </a:p>
        </p:txBody>
      </p:sp>
      <p:sp>
        <p:nvSpPr>
          <p:cNvPr id="8" name="Textfeld 7">
            <a:extLst>
              <a:ext uri="{FF2B5EF4-FFF2-40B4-BE49-F238E27FC236}">
                <a16:creationId xmlns:a16="http://schemas.microsoft.com/office/drawing/2014/main" id="{D7A1504E-8D30-6AF8-4F59-D63E82B091F0}"/>
              </a:ext>
            </a:extLst>
          </p:cNvPr>
          <p:cNvSpPr txBox="1"/>
          <p:nvPr/>
        </p:nvSpPr>
        <p:spPr>
          <a:xfrm>
            <a:off x="118046" y="0"/>
            <a:ext cx="153694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DE2D7D3F-63B6-C449-BE8E-6D24FED1F8DF}"/>
              </a:ext>
            </a:extLst>
          </p:cNvPr>
          <p:cNvSpPr txBox="1"/>
          <p:nvPr/>
        </p:nvSpPr>
        <p:spPr>
          <a:xfrm>
            <a:off x="307479" y="64680"/>
            <a:ext cx="128705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remen</a:t>
            </a:r>
          </a:p>
        </p:txBody>
      </p:sp>
      <p:pic>
        <p:nvPicPr>
          <p:cNvPr id="10" name="Grafik 9" descr="Ein Bild, das Krone, Wappen, Symbol, Emblem enthält.&#10;&#10;Automatisch generierte Beschreibung">
            <a:extLst>
              <a:ext uri="{FF2B5EF4-FFF2-40B4-BE49-F238E27FC236}">
                <a16:creationId xmlns:a16="http://schemas.microsoft.com/office/drawing/2014/main" id="{F3EB1684-CE5F-655C-ADBD-9C5EB5E61830}"/>
              </a:ext>
            </a:extLst>
          </p:cNvPr>
          <p:cNvPicPr>
            <a:picLocks noChangeAspect="1"/>
          </p:cNvPicPr>
          <p:nvPr/>
        </p:nvPicPr>
        <p:blipFill>
          <a:blip r:embed="rId2"/>
          <a:stretch>
            <a:fillRect/>
          </a:stretch>
        </p:blipFill>
        <p:spPr>
          <a:xfrm>
            <a:off x="199750" y="39871"/>
            <a:ext cx="195072" cy="284417"/>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14" descr="IGES_RGB.png">
            <a:extLst>
              <a:ext uri="{FF2B5EF4-FFF2-40B4-BE49-F238E27FC236}">
                <a16:creationId xmlns:a16="http://schemas.microsoft.com/office/drawing/2014/main" id="{E4082716-380D-EB1D-C935-B7011D3F91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7ABA7EB9-BE13-CEB0-CBC9-F1D66A7BC8BE}"/>
              </a:ext>
            </a:extLst>
          </p:cNvPr>
          <p:cNvSpPr txBox="1"/>
          <p:nvPr/>
        </p:nvSpPr>
        <p:spPr>
          <a:xfrm>
            <a:off x="3522428" y="2011680"/>
            <a:ext cx="2099144"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0" normalizeH="0" baseline="0" noProof="0">
                <a:ln>
                  <a:noFill/>
                </a:ln>
                <a:solidFill>
                  <a:srgbClr val="FFFFFF"/>
                </a:solidFill>
                <a:effectLst/>
                <a:uLnTx/>
                <a:uFillTx/>
                <a:latin typeface="Arial Narrow"/>
                <a:ea typeface="+mn-ea"/>
                <a:cs typeface="+mn-cs"/>
              </a:rPr>
              <a:t>DANKE</a:t>
            </a:r>
            <a:endParaRPr kumimoji="0" lang="de-DE" sz="1400" b="1"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984552B6-3A9E-80A9-63AF-C104F837147E}"/>
              </a:ext>
            </a:extLst>
          </p:cNvPr>
          <p:cNvSpPr txBox="1"/>
          <p:nvPr/>
        </p:nvSpPr>
        <p:spPr>
          <a:xfrm>
            <a:off x="3522428" y="2786436"/>
            <a:ext cx="2099144"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latin typeface="Arial Narrow"/>
                <a:ea typeface="+mn-ea"/>
                <a:cs typeface="+mn-cs"/>
              </a:rPr>
              <a:t>SCHÖN</a:t>
            </a:r>
          </a:p>
        </p:txBody>
      </p:sp>
    </p:spTree>
    <p:extLst>
      <p:ext uri="{BB962C8B-B14F-4D97-AF65-F5344CB8AC3E}">
        <p14:creationId xmlns:p14="http://schemas.microsoft.com/office/powerpoint/2010/main" val="467184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5</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170793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1097514556"/>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05613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 und die Selbstauskünfte </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161738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Arial Narrow"/>
                <a:ea typeface="+mn-ea"/>
                <a:cs typeface="+mn-cs"/>
              </a:rPr>
              <a:t>Junge Erwerbstätige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sind überdurchschnittlich häufig, dafür aber mit 5,3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5" name="Textfeld 4">
            <a:extLst>
              <a:ext uri="{FF2B5EF4-FFF2-40B4-BE49-F238E27FC236}">
                <a16:creationId xmlns:a16="http://schemas.microsoft.com/office/drawing/2014/main" id="{81E9492A-70C8-BB76-AD15-2EB73C75A80E}"/>
              </a:ext>
            </a:extLst>
          </p:cNvPr>
          <p:cNvSpPr txBox="1"/>
          <p:nvPr/>
        </p:nvSpPr>
        <p:spPr>
          <a:xfrm>
            <a:off x="118046" y="0"/>
            <a:ext cx="153694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96CC2616-DBAF-F003-E6F2-13D03CBC8A09}"/>
              </a:ext>
            </a:extLst>
          </p:cNvPr>
          <p:cNvSpPr txBox="1"/>
          <p:nvPr/>
        </p:nvSpPr>
        <p:spPr>
          <a:xfrm>
            <a:off x="307479" y="64680"/>
            <a:ext cx="128705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remen</a:t>
            </a:r>
          </a:p>
        </p:txBody>
      </p:sp>
      <p:pic>
        <p:nvPicPr>
          <p:cNvPr id="16" name="Grafik 15" descr="Ein Bild, das Krone, Wappen, Symbol, Emblem enthält.&#10;&#10;Automatisch generierte Beschreibung">
            <a:extLst>
              <a:ext uri="{FF2B5EF4-FFF2-40B4-BE49-F238E27FC236}">
                <a16:creationId xmlns:a16="http://schemas.microsoft.com/office/drawing/2014/main" id="{297EB527-BC25-EFF0-4434-DB11A5713FFD}"/>
              </a:ext>
            </a:extLst>
          </p:cNvPr>
          <p:cNvPicPr>
            <a:picLocks noChangeAspect="1"/>
          </p:cNvPicPr>
          <p:nvPr/>
        </p:nvPicPr>
        <p:blipFill>
          <a:blip r:embed="rId3"/>
          <a:stretch>
            <a:fillRect/>
          </a:stretch>
        </p:blipFill>
        <p:spPr>
          <a:xfrm>
            <a:off x="199750" y="39871"/>
            <a:ext cx="195072" cy="284417"/>
          </a:xfrm>
          <a:prstGeom prst="rect">
            <a:avLst/>
          </a:prstGeom>
        </p:spPr>
      </p:pic>
      <p:grpSp>
        <p:nvGrpSpPr>
          <p:cNvPr id="17" name="Gruppieren 16">
            <a:extLst>
              <a:ext uri="{FF2B5EF4-FFF2-40B4-BE49-F238E27FC236}">
                <a16:creationId xmlns:a16="http://schemas.microsoft.com/office/drawing/2014/main" id="{E7D4EE24-1188-466F-9B1C-DD173BC61621}"/>
              </a:ext>
            </a:extLst>
          </p:cNvPr>
          <p:cNvGrpSpPr/>
          <p:nvPr/>
        </p:nvGrpSpPr>
        <p:grpSpPr>
          <a:xfrm>
            <a:off x="551242" y="1729965"/>
            <a:ext cx="7759700" cy="2336482"/>
            <a:chOff x="0" y="0"/>
            <a:chExt cx="8029574" cy="2757488"/>
          </a:xfrm>
        </p:grpSpPr>
        <p:graphicFrame>
          <p:nvGraphicFramePr>
            <p:cNvPr id="22" name="Diagramm 21">
              <a:extLst>
                <a:ext uri="{FF2B5EF4-FFF2-40B4-BE49-F238E27FC236}">
                  <a16:creationId xmlns:a16="http://schemas.microsoft.com/office/drawing/2014/main" id="{22195EC6-5870-9E17-30B2-3A94CED12B8C}"/>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a:extLst>
                <a:ext uri="{FF2B5EF4-FFF2-40B4-BE49-F238E27FC236}">
                  <a16:creationId xmlns:a16="http://schemas.microsoft.com/office/drawing/2014/main" id="{79F13BC4-1C49-6FF6-5F60-FF22E09BFC67}"/>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Diagramm 24">
              <a:extLst>
                <a:ext uri="{FF2B5EF4-FFF2-40B4-BE49-F238E27FC236}">
                  <a16:creationId xmlns:a16="http://schemas.microsoft.com/office/drawing/2014/main" id="{245370A7-A1F5-AF3F-259B-793FF122EAB8}"/>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550881" y="2220952"/>
            <a:ext cx="5964218" cy="632970"/>
            <a:chOff x="1081991" y="2671742"/>
            <a:chExt cx="5964218" cy="632970"/>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3865343" y="2886374"/>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r>
                <a:rPr lang="de-DE" sz="1000" dirty="0">
                  <a:solidFill>
                    <a:srgbClr val="E83274"/>
                  </a:solidFill>
                  <a:latin typeface="Arial Narrow"/>
                </a:rPr>
                <a:t>40</a:t>
              </a:r>
              <a:r>
                <a:rPr kumimoji="0" lang="de-DE" sz="1000" b="0" i="0" u="none" strike="noStrike" kern="1200" cap="none" spc="0" normalizeH="0" baseline="0" noProof="0" dirty="0">
                  <a:ln>
                    <a:noFill/>
                  </a:ln>
                  <a:solidFill>
                    <a:srgbClr val="E83274"/>
                  </a:solidFill>
                  <a:effectLst/>
                  <a:uLnTx/>
                  <a:uFillTx/>
                  <a:latin typeface="Arial Narrow"/>
                  <a:ea typeface="+mn-ea"/>
                  <a:cs typeface="+mn-cs"/>
                </a:rPr>
                <a:t>%</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081991" y="2802848"/>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45%</a:t>
              </a:r>
            </a:p>
          </p:txBody>
        </p:sp>
        <p:sp>
          <p:nvSpPr>
            <p:cNvPr id="15" name="Pfeil: nach rechts 14">
              <a:extLst>
                <a:ext uri="{FF2B5EF4-FFF2-40B4-BE49-F238E27FC236}">
                  <a16:creationId xmlns:a16="http://schemas.microsoft.com/office/drawing/2014/main" id="{0B062738-7BED-FBF2-0952-64D78D7E139F}"/>
                </a:ext>
              </a:extLst>
            </p:cNvPr>
            <p:cNvSpPr/>
            <p:nvPr/>
          </p:nvSpPr>
          <p:spPr>
            <a:xfrm rot="1202513">
              <a:off x="6464236" y="2671742"/>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13%</a:t>
              </a:r>
            </a:p>
          </p:txBody>
        </p:sp>
      </p:grpSp>
    </p:spTree>
    <p:extLst>
      <p:ext uri="{BB962C8B-B14F-4D97-AF65-F5344CB8AC3E}">
        <p14:creationId xmlns:p14="http://schemas.microsoft.com/office/powerpoint/2010/main" val="1748652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uch bei den unter 30-jährigen Beschäftigten liegen Atemwegserkrankungen an der Spitze der Fehlzeiten. Junge Beschäftigte haben hier überdurchschnittliche viele Fehltage.</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n zweiter Stelle stehen Muskel-Skelett-Erkrankungen</a:t>
            </a:r>
            <a:r>
              <a:rPr lang="de-DE" dirty="0">
                <a:solidFill>
                  <a:srgbClr val="000000"/>
                </a:solidFill>
                <a:latin typeface="Arial Narrow"/>
              </a:rPr>
              <a:t>, an dritter Stelle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psychische Erkrankungen. Allerdings haben junge Beschäftigte bei diesen Erkrankungsgruppen unterdurchschnittlich viele Fehltage.</a:t>
            </a:r>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4" name="Textfeld 3">
            <a:extLst>
              <a:ext uri="{FF2B5EF4-FFF2-40B4-BE49-F238E27FC236}">
                <a16:creationId xmlns:a16="http://schemas.microsoft.com/office/drawing/2014/main" id="{6A9AB42B-10A3-741D-9BD3-72CD00494265}"/>
              </a:ext>
            </a:extLst>
          </p:cNvPr>
          <p:cNvSpPr txBox="1"/>
          <p:nvPr/>
        </p:nvSpPr>
        <p:spPr>
          <a:xfrm>
            <a:off x="118046" y="0"/>
            <a:ext cx="1536942" cy="391964"/>
          </a:xfrm>
          <a:prstGeom prst="rect">
            <a:avLst/>
          </a:prstGeom>
          <a:solidFill>
            <a:srgbClr val="8E0C4F"/>
          </a:solidFill>
          <a:ln>
            <a:noFill/>
          </a:ln>
          <a:extLst>
            <a:ext uri="{C572A759-6A51-4108-AA02-DFA0A04FC94B}">
              <ma14:wrappingTextBoxFlag xmlns="" xmlns:ma14="http://schemas.microsoft.com/office/mac/drawingml/2011/main"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328B6913-E199-4157-B068-6FA1CF3F401D}"/>
              </a:ext>
            </a:extLst>
          </p:cNvPr>
          <p:cNvSpPr txBox="1"/>
          <p:nvPr/>
        </p:nvSpPr>
        <p:spPr>
          <a:xfrm>
            <a:off x="307479" y="64680"/>
            <a:ext cx="1287054" cy="2769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algn="r"/>
            <a:r>
              <a:rPr lang="de-DE" sz="1200" b="1" dirty="0">
                <a:solidFill>
                  <a:schemeClr val="bg1"/>
                </a:solidFill>
                <a:latin typeface="+mj-lt"/>
              </a:rPr>
              <a:t>Daten für Bremen</a:t>
            </a:r>
          </a:p>
        </p:txBody>
      </p:sp>
      <p:pic>
        <p:nvPicPr>
          <p:cNvPr id="8" name="Grafik 7" descr="Ein Bild, das Krone, Wappen, Symbol, Emblem enthält.&#10;&#10;Automatisch generierte Beschreibung">
            <a:extLst>
              <a:ext uri="{FF2B5EF4-FFF2-40B4-BE49-F238E27FC236}">
                <a16:creationId xmlns:a16="http://schemas.microsoft.com/office/drawing/2014/main" id="{3772A5C3-A542-B95A-C597-F580B5757903}"/>
              </a:ext>
            </a:extLst>
          </p:cNvPr>
          <p:cNvPicPr>
            <a:picLocks noChangeAspect="1"/>
          </p:cNvPicPr>
          <p:nvPr/>
        </p:nvPicPr>
        <p:blipFill>
          <a:blip r:embed="rId3"/>
          <a:stretch>
            <a:fillRect/>
          </a:stretch>
        </p:blipFill>
        <p:spPr>
          <a:xfrm>
            <a:off x="199750" y="39871"/>
            <a:ext cx="195072" cy="284417"/>
          </a:xfrm>
          <a:prstGeom prst="rect">
            <a:avLst/>
          </a:prstGeom>
        </p:spPr>
      </p:pic>
      <p:graphicFrame>
        <p:nvGraphicFramePr>
          <p:cNvPr id="9" name="Diagramm 8">
            <a:extLst>
              <a:ext uri="{FF2B5EF4-FFF2-40B4-BE49-F238E27FC236}">
                <a16:creationId xmlns:a16="http://schemas.microsoft.com/office/drawing/2014/main" id="{C1581B51-25BC-458D-846D-93F757735DDE}"/>
              </a:ext>
            </a:extLst>
          </p:cNvPr>
          <p:cNvGraphicFramePr>
            <a:graphicFrameLocks/>
          </p:cNvGraphicFramePr>
          <p:nvPr>
            <p:extLst>
              <p:ext uri="{D42A27DB-BD31-4B8C-83A1-F6EECF244321}">
                <p14:modId xmlns:p14="http://schemas.microsoft.com/office/powerpoint/2010/main" val="538680975"/>
              </p:ext>
            </p:extLst>
          </p:nvPr>
        </p:nvGraphicFramePr>
        <p:xfrm>
          <a:off x="468313" y="1379243"/>
          <a:ext cx="4832033" cy="355361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4454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ADFCBA-82DC-46A1-846B-FA5CA54A4840}">
  <ds:schemaRefs>
    <ds:schemaRef ds:uri="http://schemas.microsoft.com/sharepoint/v3/contenttype/forms"/>
  </ds:schemaRefs>
</ds:datastoreItem>
</file>

<file path=customXml/itemProps2.xml><?xml version="1.0" encoding="utf-8"?>
<ds:datastoreItem xmlns:ds="http://schemas.openxmlformats.org/officeDocument/2006/customXml" ds:itemID="{25B36CCC-31AC-468D-AAAC-5DA6E5E4CB09}">
  <ds:schemaRefs>
    <ds:schemaRef ds:uri="23d2d699-f04a-4e27-84ae-d29809b11eb0"/>
    <ds:schemaRef ds:uri="http://schemas.openxmlformats.org/package/2006/metadata/core-properties"/>
    <ds:schemaRef ds:uri="http://schemas.microsoft.com/office/2006/metadata/properties"/>
    <ds:schemaRef ds:uri="http://schemas.microsoft.com/office/2006/documentManagement/types"/>
    <ds:schemaRef ds:uri="http://purl.org/dc/dcmitype/"/>
    <ds:schemaRef ds:uri="http://purl.org/dc/elements/1.1/"/>
    <ds:schemaRef ds:uri="http://purl.org/dc/terms/"/>
    <ds:schemaRef ds:uri="http://schemas.microsoft.com/office/infopath/2007/PartnerControls"/>
    <ds:schemaRef ds:uri="95555b3d-d036-4f12-b9f1-73f2e7556321"/>
    <ds:schemaRef ds:uri="http://www.w3.org/XML/1998/namespace"/>
  </ds:schemaRefs>
</ds:datastoreItem>
</file>

<file path=customXml/itemProps3.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1805</Words>
  <Application>Microsoft Office PowerPoint</Application>
  <PresentationFormat>Bildschirmpräsentation (16:9)</PresentationFormat>
  <Paragraphs>209</Paragraphs>
  <Slides>25</Slides>
  <Notes>4</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5</vt:i4>
      </vt:variant>
    </vt:vector>
  </HeadingPairs>
  <TitlesOfParts>
    <vt:vector size="31" baseType="lpstr">
      <vt:lpstr>Arial</vt:lpstr>
      <vt:lpstr>Arial Narrow</vt:lpstr>
      <vt:lpstr>Wingdings</vt:lpstr>
      <vt:lpstr>2_DAK_Gesundheit </vt:lpstr>
      <vt:lpstr>DAK_Gesundheit </vt:lpstr>
      <vt:lpstr>1_DAK_Gesundheit </vt:lpstr>
      <vt:lpstr>PowerPoint-Präsentation</vt:lpstr>
      <vt:lpstr>76 Tausend Erwerbstätige sind unter 30</vt:lpstr>
      <vt:lpstr>PowerPoint-Präsentation</vt:lpstr>
      <vt:lpstr>Gesundheitsreport 2025: Datenquellen</vt:lpstr>
      <vt:lpstr>Generation Z – Hintergrund</vt:lpstr>
      <vt:lpstr>PowerPoint-Präsentation</vt:lpstr>
      <vt:lpstr>häufige, aber kurze Krankschreibungen </vt:lpstr>
      <vt:lpstr>Mehr Erkältungen und Infekte</vt:lpstr>
      <vt:lpstr>PowerPoint-Präsentation</vt:lpstr>
      <vt:lpstr>Generationenkonflikte erleben 18 %</vt:lpstr>
      <vt:lpstr>Generationenkonflikte eher in älteren Teams</vt:lpstr>
      <vt:lpstr>Generationenkonflikte Belasten GEN Z stärker</vt:lpstr>
      <vt:lpstr>PowerPoint-Präsentation</vt:lpstr>
      <vt:lpstr>Top-Wunsch: Ein Gutes Arbeitsklima</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PowerPoint-Präsentation</vt:lpstr>
      <vt:lpstr>Betriebliches Gesundheitsmanagement</vt:lpstr>
      <vt:lpstr>BGM: KONKRETE ANGEBOTE DER DAK-GESUNDH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08</cp:revision>
  <cp:lastPrinted>2023-11-06T11:26:11Z</cp:lastPrinted>
  <dcterms:created xsi:type="dcterms:W3CDTF">2023-07-06T09:26:04Z</dcterms:created>
  <dcterms:modified xsi:type="dcterms:W3CDTF">2025-08-12T14:5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